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259"/>
  </p:notesMasterIdLst>
  <p:handoutMasterIdLst>
    <p:handoutMasterId r:id="rId260"/>
  </p:handoutMasterIdLst>
  <p:sldIdLst>
    <p:sldId id="343" r:id="rId4"/>
    <p:sldId id="325" r:id="rId5"/>
    <p:sldId id="327" r:id="rId6"/>
    <p:sldId id="10470" r:id="rId7"/>
    <p:sldId id="371" r:id="rId8"/>
    <p:sldId id="328" r:id="rId9"/>
    <p:sldId id="10525" r:id="rId10"/>
    <p:sldId id="511" r:id="rId11"/>
    <p:sldId id="10522" r:id="rId12"/>
    <p:sldId id="10471"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10523" r:id="rId28"/>
    <p:sldId id="938" r:id="rId29"/>
    <p:sldId id="947" r:id="rId30"/>
    <p:sldId id="10526" r:id="rId31"/>
    <p:sldId id="10524" r:id="rId32"/>
    <p:sldId id="340" r:id="rId33"/>
    <p:sldId id="609" r:id="rId34"/>
    <p:sldId id="966" r:id="rId35"/>
    <p:sldId id="967" r:id="rId36"/>
    <p:sldId id="971" r:id="rId37"/>
    <p:sldId id="972" r:id="rId38"/>
    <p:sldId id="973" r:id="rId39"/>
    <p:sldId id="974" r:id="rId40"/>
    <p:sldId id="975" r:id="rId41"/>
    <p:sldId id="980" r:id="rId42"/>
    <p:sldId id="968" r:id="rId43"/>
    <p:sldId id="976" r:id="rId44"/>
    <p:sldId id="977" r:id="rId45"/>
    <p:sldId id="10472" r:id="rId46"/>
    <p:sldId id="1003" r:id="rId47"/>
    <p:sldId id="611" r:id="rId48"/>
    <p:sldId id="948" r:id="rId49"/>
    <p:sldId id="612" r:id="rId50"/>
    <p:sldId id="613" r:id="rId51"/>
    <p:sldId id="614" r:id="rId52"/>
    <p:sldId id="616" r:id="rId53"/>
    <p:sldId id="949" r:id="rId54"/>
    <p:sldId id="950" r:id="rId55"/>
    <p:sldId id="951" r:id="rId56"/>
    <p:sldId id="952" r:id="rId57"/>
    <p:sldId id="955" r:id="rId58"/>
    <p:sldId id="953" r:id="rId59"/>
    <p:sldId id="1012" r:id="rId60"/>
    <p:sldId id="1016" r:id="rId61"/>
    <p:sldId id="1013" r:id="rId62"/>
    <p:sldId id="1014" r:id="rId63"/>
    <p:sldId id="1015" r:id="rId64"/>
    <p:sldId id="1018" r:id="rId65"/>
    <p:sldId id="1043" r:id="rId66"/>
    <p:sldId id="1019" r:id="rId67"/>
    <p:sldId id="1071" r:id="rId68"/>
    <p:sldId id="1036" r:id="rId69"/>
    <p:sldId id="1037" r:id="rId70"/>
    <p:sldId id="1038" r:id="rId71"/>
    <p:sldId id="1040" r:id="rId72"/>
    <p:sldId id="1020" r:id="rId73"/>
    <p:sldId id="1021" r:id="rId74"/>
    <p:sldId id="1022" r:id="rId75"/>
    <p:sldId id="1023" r:id="rId76"/>
    <p:sldId id="1024" r:id="rId77"/>
    <p:sldId id="1025" r:id="rId78"/>
    <p:sldId id="1026" r:id="rId79"/>
    <p:sldId id="1027" r:id="rId80"/>
    <p:sldId id="1030" r:id="rId81"/>
    <p:sldId id="1031" r:id="rId82"/>
    <p:sldId id="1044" r:id="rId83"/>
    <p:sldId id="1042" r:id="rId84"/>
    <p:sldId id="1039" r:id="rId85"/>
    <p:sldId id="1032" r:id="rId86"/>
    <p:sldId id="1033" r:id="rId87"/>
    <p:sldId id="1034" r:id="rId88"/>
    <p:sldId id="1045" r:id="rId89"/>
    <p:sldId id="1035" r:id="rId90"/>
    <p:sldId id="1046" r:id="rId91"/>
    <p:sldId id="1047" r:id="rId92"/>
    <p:sldId id="1028" r:id="rId93"/>
    <p:sldId id="1048" r:id="rId94"/>
    <p:sldId id="1049" r:id="rId95"/>
    <p:sldId id="1050" r:id="rId96"/>
    <p:sldId id="1051" r:id="rId97"/>
    <p:sldId id="1052" r:id="rId98"/>
    <p:sldId id="1029" r:id="rId99"/>
    <p:sldId id="1053" r:id="rId100"/>
    <p:sldId id="1054" r:id="rId101"/>
    <p:sldId id="1055" r:id="rId102"/>
    <p:sldId id="1056" r:id="rId103"/>
    <p:sldId id="1057" r:id="rId104"/>
    <p:sldId id="1072" r:id="rId105"/>
    <p:sldId id="1060" r:id="rId106"/>
    <p:sldId id="1062" r:id="rId107"/>
    <p:sldId id="1064" r:id="rId108"/>
    <p:sldId id="1061" r:id="rId109"/>
    <p:sldId id="1065" r:id="rId110"/>
    <p:sldId id="1066" r:id="rId111"/>
    <p:sldId id="1070" r:id="rId112"/>
    <p:sldId id="1067" r:id="rId113"/>
    <p:sldId id="1068" r:id="rId114"/>
    <p:sldId id="1069" r:id="rId115"/>
    <p:sldId id="1058" r:id="rId116"/>
    <p:sldId id="1073" r:id="rId117"/>
    <p:sldId id="1059" r:id="rId118"/>
    <p:sldId id="1074" r:id="rId119"/>
    <p:sldId id="1075" r:id="rId120"/>
    <p:sldId id="1078" r:id="rId121"/>
    <p:sldId id="1079" r:id="rId122"/>
    <p:sldId id="1080" r:id="rId123"/>
    <p:sldId id="10473" r:id="rId124"/>
    <p:sldId id="1081" r:id="rId125"/>
    <p:sldId id="1076" r:id="rId126"/>
    <p:sldId id="1077" r:id="rId127"/>
    <p:sldId id="1082" r:id="rId128"/>
    <p:sldId id="1083" r:id="rId129"/>
    <p:sldId id="1084" r:id="rId130"/>
    <p:sldId id="1085" r:id="rId131"/>
    <p:sldId id="1088" r:id="rId132"/>
    <p:sldId id="1089" r:id="rId133"/>
    <p:sldId id="1090" r:id="rId134"/>
    <p:sldId id="1091" r:id="rId135"/>
    <p:sldId id="1087" r:id="rId136"/>
    <p:sldId id="1086" r:id="rId137"/>
    <p:sldId id="1092" r:id="rId138"/>
    <p:sldId id="1098" r:id="rId139"/>
    <p:sldId id="1093" r:id="rId140"/>
    <p:sldId id="1094" r:id="rId141"/>
    <p:sldId id="1095" r:id="rId142"/>
    <p:sldId id="1096" r:id="rId143"/>
    <p:sldId id="1103" r:id="rId144"/>
    <p:sldId id="1118" r:id="rId145"/>
    <p:sldId id="1097" r:id="rId146"/>
    <p:sldId id="1099" r:id="rId147"/>
    <p:sldId id="1100" r:id="rId148"/>
    <p:sldId id="1104" r:id="rId149"/>
    <p:sldId id="1107" r:id="rId150"/>
    <p:sldId id="1106" r:id="rId151"/>
    <p:sldId id="1108" r:id="rId152"/>
    <p:sldId id="1109" r:id="rId153"/>
    <p:sldId id="1110" r:id="rId154"/>
    <p:sldId id="1111" r:id="rId155"/>
    <p:sldId id="10476" r:id="rId156"/>
    <p:sldId id="1101" r:id="rId157"/>
    <p:sldId id="1102" r:id="rId158"/>
    <p:sldId id="1119" r:id="rId159"/>
    <p:sldId id="665" r:id="rId160"/>
    <p:sldId id="1122" r:id="rId161"/>
    <p:sldId id="1120" r:id="rId162"/>
    <p:sldId id="1121" r:id="rId163"/>
    <p:sldId id="834" r:id="rId164"/>
    <p:sldId id="838" r:id="rId165"/>
    <p:sldId id="839" r:id="rId166"/>
    <p:sldId id="841" r:id="rId167"/>
    <p:sldId id="842" r:id="rId168"/>
    <p:sldId id="843" r:id="rId169"/>
    <p:sldId id="835" r:id="rId170"/>
    <p:sldId id="844" r:id="rId171"/>
    <p:sldId id="836" r:id="rId172"/>
    <p:sldId id="846" r:id="rId173"/>
    <p:sldId id="847" r:id="rId174"/>
    <p:sldId id="868" r:id="rId175"/>
    <p:sldId id="869" r:id="rId176"/>
    <p:sldId id="872" r:id="rId177"/>
    <p:sldId id="870" r:id="rId178"/>
    <p:sldId id="10475" r:id="rId179"/>
    <p:sldId id="1112" r:id="rId180"/>
    <p:sldId id="1114" r:id="rId181"/>
    <p:sldId id="1113" r:id="rId182"/>
    <p:sldId id="1125" r:id="rId183"/>
    <p:sldId id="1129" r:id="rId184"/>
    <p:sldId id="1126" r:id="rId185"/>
    <p:sldId id="1123" r:id="rId186"/>
    <p:sldId id="1124" r:id="rId187"/>
    <p:sldId id="1128" r:id="rId188"/>
    <p:sldId id="1131" r:id="rId189"/>
    <p:sldId id="1127" r:id="rId190"/>
    <p:sldId id="1130" r:id="rId191"/>
    <p:sldId id="1132" r:id="rId192"/>
    <p:sldId id="1133" r:id="rId193"/>
    <p:sldId id="1134" r:id="rId194"/>
    <p:sldId id="10490" r:id="rId195"/>
    <p:sldId id="1115" r:id="rId196"/>
    <p:sldId id="1116" r:id="rId197"/>
    <p:sldId id="1117" r:id="rId198"/>
    <p:sldId id="1105" r:id="rId199"/>
    <p:sldId id="1011" r:id="rId200"/>
    <p:sldId id="10403" r:id="rId201"/>
    <p:sldId id="10404" r:id="rId202"/>
    <p:sldId id="10405" r:id="rId203"/>
    <p:sldId id="10402" r:id="rId204"/>
    <p:sldId id="10407" r:id="rId205"/>
    <p:sldId id="10446" r:id="rId206"/>
    <p:sldId id="10440" r:id="rId207"/>
    <p:sldId id="10441" r:id="rId208"/>
    <p:sldId id="10451" r:id="rId209"/>
    <p:sldId id="10431" r:id="rId210"/>
    <p:sldId id="10452" r:id="rId211"/>
    <p:sldId id="10453" r:id="rId212"/>
    <p:sldId id="10454" r:id="rId213"/>
    <p:sldId id="10455" r:id="rId214"/>
    <p:sldId id="10448" r:id="rId215"/>
    <p:sldId id="10449" r:id="rId216"/>
    <p:sldId id="10450" r:id="rId217"/>
    <p:sldId id="10459" r:id="rId218"/>
    <p:sldId id="10447" r:id="rId219"/>
    <p:sldId id="10406" r:id="rId220"/>
    <p:sldId id="10425" r:id="rId221"/>
    <p:sldId id="10426" r:id="rId222"/>
    <p:sldId id="10409" r:id="rId223"/>
    <p:sldId id="10421" r:id="rId224"/>
    <p:sldId id="10417" r:id="rId225"/>
    <p:sldId id="10408" r:id="rId226"/>
    <p:sldId id="10427" r:id="rId227"/>
    <p:sldId id="10435" r:id="rId228"/>
    <p:sldId id="10437" r:id="rId229"/>
    <p:sldId id="10436" r:id="rId230"/>
    <p:sldId id="10438" r:id="rId231"/>
    <p:sldId id="10439" r:id="rId232"/>
    <p:sldId id="10442" r:id="rId233"/>
    <p:sldId id="10443" r:id="rId234"/>
    <p:sldId id="10444" r:id="rId235"/>
    <p:sldId id="10445" r:id="rId236"/>
    <p:sldId id="10428" r:id="rId237"/>
    <p:sldId id="10429" r:id="rId238"/>
    <p:sldId id="10430" r:id="rId239"/>
    <p:sldId id="10422" r:id="rId240"/>
    <p:sldId id="10423" r:id="rId241"/>
    <p:sldId id="936" r:id="rId242"/>
    <p:sldId id="825" r:id="rId243"/>
    <p:sldId id="823" r:id="rId244"/>
    <p:sldId id="824" r:id="rId245"/>
    <p:sldId id="810" r:id="rId246"/>
    <p:sldId id="514" r:id="rId247"/>
    <p:sldId id="512" r:id="rId248"/>
    <p:sldId id="345" r:id="rId249"/>
    <p:sldId id="294" r:id="rId250"/>
    <p:sldId id="332" r:id="rId251"/>
    <p:sldId id="349" r:id="rId252"/>
    <p:sldId id="344" r:id="rId253"/>
    <p:sldId id="333" r:id="rId254"/>
    <p:sldId id="339" r:id="rId255"/>
    <p:sldId id="336" r:id="rId256"/>
    <p:sldId id="337" r:id="rId257"/>
    <p:sldId id="341" r:id="rId25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980"/>
            <p14:sldId id="968"/>
            <p14:sldId id="976"/>
            <p14:sldId id="977"/>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D63A5623-874A-4021-8463-B45A95150954}">
          <p14:sldIdLst>
            <p14:sldId id="936"/>
            <p14:sldId id="825"/>
            <p14:sldId id="823"/>
            <p14:sldId id="824"/>
            <p14:sldId id="810"/>
            <p14:sldId id="514"/>
            <p14:sldId id="512"/>
            <p14:sldId id="345"/>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19" autoAdjust="0"/>
    <p:restoredTop sz="87818" autoAdjust="0"/>
  </p:normalViewPr>
  <p:slideViewPr>
    <p:cSldViewPr snapToGrid="0">
      <p:cViewPr varScale="1">
        <p:scale>
          <a:sx n="121" d="100"/>
          <a:sy n="121" d="100"/>
        </p:scale>
        <p:origin x="120" y="65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226" Type="http://schemas.openxmlformats.org/officeDocument/2006/relationships/slide" Target="slides/slide22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slide" Target="slides/slide255.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notesMaster" Target="notesMasters/notesMaster1.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handoutMaster" Target="handoutMasters/handoutMaster1.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commentAuthors" Target="commentAuthors.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presProps" Target="presProps.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viewProps" Target="viewProps.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theme" Target="theme/theme1.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tableStyles" Target="tableStyles.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28/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2.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41.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19.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9 6: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241</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549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9 6: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9 6: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9 6: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6:0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28/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28/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2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2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2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5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0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1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1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1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6512"/>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28/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117.png"/><Relationship Id="rId1" Type="http://schemas.openxmlformats.org/officeDocument/2006/relationships/slideLayout" Target="../slideLayouts/slideLayout21.xml"/></Relationships>
</file>

<file path=ppt/slides/_rels/slide10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117.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2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2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 Id="rId5" Type="http://schemas.openxmlformats.org/officeDocument/2006/relationships/image" Target="../media/image175.svg"/><Relationship Id="rId4" Type="http://schemas.openxmlformats.org/officeDocument/2006/relationships/image" Target="../media/image174.png"/></Relationships>
</file>

<file path=ppt/slides/_rels/slide124.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2.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2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16.xml"/><Relationship Id="rId1" Type="http://schemas.openxmlformats.org/officeDocument/2006/relationships/slideLayout" Target="../slideLayouts/slideLayout18.xml"/></Relationships>
</file>

<file path=ppt/slides/_rels/slide129.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17.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3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s>
</file>

<file path=ppt/slides/_rels/slide13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 Id="rId4" Type="http://schemas.openxmlformats.org/officeDocument/2006/relationships/image" Target="../media/image187.png"/></Relationships>
</file>

<file path=ppt/slides/_rels/slide135.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117.png"/><Relationship Id="rId1" Type="http://schemas.openxmlformats.org/officeDocument/2006/relationships/slideLayout" Target="../slideLayouts/slideLayout21.xml"/></Relationships>
</file>

<file path=ppt/slides/_rels/slide13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4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7.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4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8.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4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29.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43.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30.xml"/><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5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s>
</file>

<file path=ppt/slides/_rels/slide15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 Id="rId4" Type="http://schemas.openxmlformats.org/officeDocument/2006/relationships/image" Target="../media/image207.png"/></Relationships>
</file>

<file path=ppt/slides/_rels/slide156.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117.png"/><Relationship Id="rId1" Type="http://schemas.openxmlformats.org/officeDocument/2006/relationships/slideLayout" Target="../slideLayouts/slideLayout21.xml"/></Relationships>
</file>

<file path=ppt/slides/_rels/slide15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2.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09.png"/></Relationships>
</file>

<file path=ppt/slides/_rels/slide158.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08.png"/><Relationship Id="rId7" Type="http://schemas.openxmlformats.org/officeDocument/2006/relationships/image" Target="../media/image213.png"/><Relationship Id="rId2" Type="http://schemas.openxmlformats.org/officeDocument/2006/relationships/notesSlide" Target="../notesSlides/notesSlide143.xml"/><Relationship Id="rId1" Type="http://schemas.openxmlformats.org/officeDocument/2006/relationships/slideLayout" Target="../slideLayouts/slideLayout18.xml"/><Relationship Id="rId6" Type="http://schemas.openxmlformats.org/officeDocument/2006/relationships/image" Target="../media/image212.png"/><Relationship Id="rId5" Type="http://schemas.openxmlformats.org/officeDocument/2006/relationships/image" Target="../media/image211.png"/><Relationship Id="rId4" Type="http://schemas.openxmlformats.org/officeDocument/2006/relationships/image" Target="../media/image210.png"/></Relationships>
</file>

<file path=ppt/slides/_rels/slide159.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4.xml"/><Relationship Id="rId1" Type="http://schemas.openxmlformats.org/officeDocument/2006/relationships/slideLayout" Target="../slideLayouts/slideLayout18.xml"/><Relationship Id="rId6" Type="http://schemas.openxmlformats.org/officeDocument/2006/relationships/image" Target="../media/image215.png"/><Relationship Id="rId5" Type="http://schemas.openxmlformats.org/officeDocument/2006/relationships/image" Target="../media/image211.png"/><Relationship Id="rId4" Type="http://schemas.openxmlformats.org/officeDocument/2006/relationships/image" Target="../media/image210.png"/></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60.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117.png"/><Relationship Id="rId1" Type="http://schemas.openxmlformats.org/officeDocument/2006/relationships/slideLayout" Target="../slideLayouts/slideLayout21.xml"/></Relationships>
</file>

<file path=ppt/slides/_rels/slide161.xml.rels><?xml version="1.0" encoding="UTF-8" standalone="yes"?>
<Relationships xmlns="http://schemas.openxmlformats.org/package/2006/relationships"><Relationship Id="rId3" Type="http://schemas.openxmlformats.org/officeDocument/2006/relationships/image" Target="../media/image208.png"/><Relationship Id="rId7" Type="http://schemas.openxmlformats.org/officeDocument/2006/relationships/image" Target="../media/image211.png"/><Relationship Id="rId2" Type="http://schemas.openxmlformats.org/officeDocument/2006/relationships/notesSlide" Target="../notesSlides/notesSlide145.xml"/><Relationship Id="rId1" Type="http://schemas.openxmlformats.org/officeDocument/2006/relationships/slideLayout" Target="../slideLayouts/slideLayout18.xml"/><Relationship Id="rId6" Type="http://schemas.openxmlformats.org/officeDocument/2006/relationships/image" Target="../media/image210.png"/><Relationship Id="rId5" Type="http://schemas.openxmlformats.org/officeDocument/2006/relationships/image" Target="../media/image217.png"/><Relationship Id="rId4" Type="http://schemas.openxmlformats.org/officeDocument/2006/relationships/image" Target="../media/image216.png"/></Relationships>
</file>

<file path=ppt/slides/_rels/slide162.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6.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17.png"/></Relationships>
</file>

<file path=ppt/slides/_rels/slide163.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7.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18.png"/></Relationships>
</file>

<file path=ppt/slides/_rels/slide164.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8.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19.png"/></Relationships>
</file>

<file path=ppt/slides/_rels/slide165.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9.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20.png"/></Relationships>
</file>

<file path=ppt/slides/_rels/slide16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21.png"/></Relationships>
</file>

<file path=ppt/slides/_rels/slide16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22.png"/></Relationships>
</file>

<file path=ppt/slides/_rels/slide168.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23.png"/></Relationships>
</file>

<file path=ppt/slides/_rels/slide169.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24.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7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25.png"/></Relationships>
</file>

<file path=ppt/slides/_rels/slide171.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26.png"/></Relationships>
</file>

<file path=ppt/slides/_rels/slide172.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27.png"/></Relationships>
</file>

<file path=ppt/slides/_rels/slide173.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28.png"/></Relationships>
</file>

<file path=ppt/slides/_rels/slide174.xml.rels><?xml version="1.0" encoding="UTF-8" standalone="yes"?>
<Relationships xmlns="http://schemas.openxmlformats.org/package/2006/relationships"><Relationship Id="rId3" Type="http://schemas.openxmlformats.org/officeDocument/2006/relationships/image" Target="../media/image208.png"/><Relationship Id="rId7" Type="http://schemas.openxmlformats.org/officeDocument/2006/relationships/image" Target="../media/image211.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0.png"/><Relationship Id="rId5" Type="http://schemas.openxmlformats.org/officeDocument/2006/relationships/image" Target="../media/image230.png"/><Relationship Id="rId4" Type="http://schemas.openxmlformats.org/officeDocument/2006/relationships/image" Target="../media/image229.png"/></Relationships>
</file>

<file path=ppt/slides/_rels/slide175.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31.png"/></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7.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160.xml"/><Relationship Id="rId1" Type="http://schemas.openxmlformats.org/officeDocument/2006/relationships/slideLayout" Target="../slideLayouts/slideLayout18.xml"/></Relationships>
</file>

<file path=ppt/slides/_rels/slide178.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161.xml"/><Relationship Id="rId1" Type="http://schemas.openxmlformats.org/officeDocument/2006/relationships/slideLayout" Target="../slideLayouts/slideLayout18.xml"/></Relationships>
</file>

<file path=ppt/slides/_rels/slide179.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62.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8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63.xml"/><Relationship Id="rId1" Type="http://schemas.openxmlformats.org/officeDocument/2006/relationships/slideLayout" Target="../slideLayouts/slideLayout18.xml"/><Relationship Id="rId4" Type="http://schemas.openxmlformats.org/officeDocument/2006/relationships/image" Target="../media/image235.png"/></Relationships>
</file>

<file path=ppt/slides/_rels/slide181.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64.xml"/><Relationship Id="rId1" Type="http://schemas.openxmlformats.org/officeDocument/2006/relationships/slideLayout" Target="../slideLayouts/slideLayout18.xml"/><Relationship Id="rId4" Type="http://schemas.openxmlformats.org/officeDocument/2006/relationships/image" Target="../media/image236.png"/></Relationships>
</file>

<file path=ppt/slides/_rels/slide182.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png"/><Relationship Id="rId1" Type="http://schemas.openxmlformats.org/officeDocument/2006/relationships/slideLayout" Target="../slideLayouts/slideLayout21.xml"/><Relationship Id="rId4" Type="http://schemas.openxmlformats.org/officeDocument/2006/relationships/image" Target="../media/image239.svg"/></Relationships>
</file>

<file path=ppt/slides/_rels/slide183.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65.xml"/><Relationship Id="rId1" Type="http://schemas.openxmlformats.org/officeDocument/2006/relationships/slideLayout" Target="../slideLayouts/slideLayout18.xml"/><Relationship Id="rId5" Type="http://schemas.openxmlformats.org/officeDocument/2006/relationships/image" Target="../media/image241.png"/><Relationship Id="rId4" Type="http://schemas.openxmlformats.org/officeDocument/2006/relationships/image" Target="../media/image240.png"/></Relationships>
</file>

<file path=ppt/slides/_rels/slide184.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66.xml"/><Relationship Id="rId1" Type="http://schemas.openxmlformats.org/officeDocument/2006/relationships/slideLayout" Target="../slideLayouts/slideLayout18.xml"/><Relationship Id="rId4" Type="http://schemas.openxmlformats.org/officeDocument/2006/relationships/image" Target="../media/image240.png"/></Relationships>
</file>

<file path=ppt/slides/_rels/slide185.xml.rels><?xml version="1.0" encoding="UTF-8" standalone="yes"?>
<Relationships xmlns="http://schemas.openxmlformats.org/package/2006/relationships"><Relationship Id="rId3" Type="http://schemas.openxmlformats.org/officeDocument/2006/relationships/image" Target="../media/image243.svg"/><Relationship Id="rId2" Type="http://schemas.openxmlformats.org/officeDocument/2006/relationships/image" Target="../media/image242.png"/><Relationship Id="rId1" Type="http://schemas.openxmlformats.org/officeDocument/2006/relationships/slideLayout" Target="../slideLayouts/slideLayout21.xml"/></Relationships>
</file>

<file path=ppt/slides/_rels/slide186.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117.png"/><Relationship Id="rId1" Type="http://schemas.openxmlformats.org/officeDocument/2006/relationships/slideLayout" Target="../slideLayouts/slideLayout21.xml"/></Relationships>
</file>

<file path=ppt/slides/_rels/slide187.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67.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88.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68.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89.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69.xml"/><Relationship Id="rId1" Type="http://schemas.openxmlformats.org/officeDocument/2006/relationships/slideLayout" Target="../slideLayouts/slideLayout18.xml"/><Relationship Id="rId4" Type="http://schemas.openxmlformats.org/officeDocument/2006/relationships/image" Target="../media/image246.pn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9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70.xml"/><Relationship Id="rId1" Type="http://schemas.openxmlformats.org/officeDocument/2006/relationships/slideLayout" Target="../slideLayouts/slideLayout18.xml"/><Relationship Id="rId4" Type="http://schemas.openxmlformats.org/officeDocument/2006/relationships/image" Target="../media/image247.png"/></Relationships>
</file>

<file path=ppt/slides/_rels/slide191.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3.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72.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94.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73.xml"/><Relationship Id="rId1" Type="http://schemas.openxmlformats.org/officeDocument/2006/relationships/slideLayout" Target="../slideLayouts/slideLayout18.xml"/></Relationships>
</file>

<file path=ppt/slides/_rels/slide195.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174.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9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9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s>
</file>

<file path=ppt/slides/_rels/slide19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77.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199.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7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79.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20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20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29.xml"/><Relationship Id="rId4" Type="http://schemas.openxmlformats.org/officeDocument/2006/relationships/image" Target="../media/image259.png"/></Relationships>
</file>

<file path=ppt/slides/_rels/slide203.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2.xml"/><Relationship Id="rId1" Type="http://schemas.openxmlformats.org/officeDocument/2006/relationships/slideLayout" Target="../slideLayouts/slideLayout29.xml"/><Relationship Id="rId4" Type="http://schemas.openxmlformats.org/officeDocument/2006/relationships/image" Target="../media/image261.png"/></Relationships>
</file>

<file path=ppt/slides/_rels/slide204.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3.xml"/><Relationship Id="rId1" Type="http://schemas.openxmlformats.org/officeDocument/2006/relationships/slideLayout" Target="../slideLayouts/slideLayout29.xml"/><Relationship Id="rId4" Type="http://schemas.openxmlformats.org/officeDocument/2006/relationships/image" Target="../media/image263.png"/></Relationships>
</file>

<file path=ppt/slides/_rels/slide205.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4.xml"/><Relationship Id="rId1" Type="http://schemas.openxmlformats.org/officeDocument/2006/relationships/slideLayout" Target="../slideLayouts/slideLayout29.xml"/><Relationship Id="rId4" Type="http://schemas.openxmlformats.org/officeDocument/2006/relationships/image" Target="../media/image265.png"/></Relationships>
</file>

<file path=ppt/slides/_rels/slide206.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5.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07.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86.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08.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87.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09.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88.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10.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89.xml"/><Relationship Id="rId1" Type="http://schemas.openxmlformats.org/officeDocument/2006/relationships/slideLayout" Target="../slideLayouts/slideLayout29.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275.png"/></Relationships>
</file>

<file path=ppt/slides/_rels/slide211.xml.rels><?xml version="1.0" encoding="UTF-8" standalone="yes"?>
<Relationships xmlns="http://schemas.openxmlformats.org/package/2006/relationships"><Relationship Id="rId3" Type="http://schemas.openxmlformats.org/officeDocument/2006/relationships/image" Target="../media/image276.png"/><Relationship Id="rId7" Type="http://schemas.openxmlformats.org/officeDocument/2006/relationships/image" Target="../media/image278.png"/><Relationship Id="rId2" Type="http://schemas.openxmlformats.org/officeDocument/2006/relationships/notesSlide" Target="../notesSlides/notesSlide190.xml"/><Relationship Id="rId1" Type="http://schemas.openxmlformats.org/officeDocument/2006/relationships/slideLayout" Target="../slideLayouts/slideLayout29.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277.png"/></Relationships>
</file>

<file path=ppt/slides/_rels/slide212.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191.xml"/><Relationship Id="rId1" Type="http://schemas.openxmlformats.org/officeDocument/2006/relationships/slideLayout" Target="../slideLayouts/slideLayout29.xml"/><Relationship Id="rId6" Type="http://schemas.openxmlformats.org/officeDocument/2006/relationships/image" Target="../media/image280.png"/><Relationship Id="rId5" Type="http://schemas.openxmlformats.org/officeDocument/2006/relationships/image" Target="../media/image107.svg"/><Relationship Id="rId4" Type="http://schemas.openxmlformats.org/officeDocument/2006/relationships/image" Target="../media/image106.png"/></Relationships>
</file>

<file path=ppt/slides/_rels/slide213.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192.xml"/><Relationship Id="rId1" Type="http://schemas.openxmlformats.org/officeDocument/2006/relationships/slideLayout" Target="../slideLayouts/slideLayout29.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277.png"/></Relationships>
</file>

<file path=ppt/slides/_rels/slide214.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83.png"/></Relationships>
</file>

<file path=ppt/slides/_rels/slide215.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117.png"/><Relationship Id="rId1" Type="http://schemas.openxmlformats.org/officeDocument/2006/relationships/slideLayout" Target="../slideLayouts/slideLayout21.xml"/></Relationships>
</file>

<file path=ppt/slides/_rels/slide216.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194.xml"/><Relationship Id="rId1" Type="http://schemas.openxmlformats.org/officeDocument/2006/relationships/slideLayout" Target="../slideLayouts/slideLayout18.xml"/></Relationships>
</file>

<file path=ppt/slides/_rels/slide217.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195.xml"/><Relationship Id="rId1" Type="http://schemas.openxmlformats.org/officeDocument/2006/relationships/slideLayout" Target="../slideLayouts/slideLayout18.xml"/></Relationships>
</file>

<file path=ppt/slides/_rels/slide218.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196.xml"/><Relationship Id="rId1" Type="http://schemas.openxmlformats.org/officeDocument/2006/relationships/slideLayout" Target="../slideLayouts/slideLayout18.xml"/></Relationships>
</file>

<file path=ppt/slides/_rels/slide219.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7.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20.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198.xml"/><Relationship Id="rId1" Type="http://schemas.openxmlformats.org/officeDocument/2006/relationships/slideLayout" Target="../slideLayouts/slideLayout18.xml"/></Relationships>
</file>

<file path=ppt/slides/_rels/slide22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199.xml"/><Relationship Id="rId1" Type="http://schemas.openxmlformats.org/officeDocument/2006/relationships/slideLayout" Target="../slideLayouts/slideLayout18.xml"/></Relationships>
</file>

<file path=ppt/slides/_rels/slide22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0.xml"/><Relationship Id="rId1" Type="http://schemas.openxmlformats.org/officeDocument/2006/relationships/slideLayout" Target="../slideLayouts/slideLayout18.xml"/></Relationships>
</file>

<file path=ppt/slides/_rels/slide223.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01.xml"/><Relationship Id="rId1" Type="http://schemas.openxmlformats.org/officeDocument/2006/relationships/slideLayout" Target="../slideLayouts/slideLayout18.xml"/></Relationships>
</file>

<file path=ppt/slides/_rels/slide224.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29.xml"/><Relationship Id="rId4" Type="http://schemas.openxmlformats.org/officeDocument/2006/relationships/image" Target="../media/image308.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1.xml.rels><?xml version="1.0" encoding="UTF-8" standalone="yes"?>
<Relationships xmlns="http://schemas.openxmlformats.org/package/2006/relationships"><Relationship Id="rId3" Type="http://schemas.openxmlformats.org/officeDocument/2006/relationships/hyperlink" Target="https://docs.microsoft.com/learn/browse/?products=power-platform" TargetMode="External"/><Relationship Id="rId7" Type="http://schemas.openxmlformats.org/officeDocument/2006/relationships/hyperlink" Target="https://youtu.be/rcrubFa8758" TargetMode="External"/><Relationship Id="rId2" Type="http://schemas.openxmlformats.org/officeDocument/2006/relationships/notesSlide" Target="../notesSlides/notesSlide218.xml"/><Relationship Id="rId1" Type="http://schemas.openxmlformats.org/officeDocument/2006/relationships/slideLayout" Target="../slideLayouts/slideLayout8.xml"/><Relationship Id="rId6" Type="http://schemas.openxmlformats.org/officeDocument/2006/relationships/hyperlink" Target="https://docs.microsoft.com/powerapps/maker/canvas-apps/add-scrolling-screen" TargetMode="External"/><Relationship Id="rId5" Type="http://schemas.openxmlformats.org/officeDocument/2006/relationships/hyperlink" Target="https://youtu.be/swpjfIyXCNA" TargetMode="External"/><Relationship Id="rId4" Type="http://schemas.openxmlformats.org/officeDocument/2006/relationships/hyperlink" Target="https://docs.microsoft.com/power-platform/admin/pricing-billing-skus" TargetMode="External"/></Relationships>
</file>

<file path=ppt/slides/_rels/slide242.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9.xml"/><Relationship Id="rId1" Type="http://schemas.openxmlformats.org/officeDocument/2006/relationships/slideLayout" Target="../slideLayouts/slideLayout29.xml"/><Relationship Id="rId4" Type="http://schemas.openxmlformats.org/officeDocument/2006/relationships/image" Target="../media/image309.png"/></Relationships>
</file>

<file path=ppt/slides/_rels/slide244.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20.xml"/><Relationship Id="rId6" Type="http://schemas.openxmlformats.org/officeDocument/2006/relationships/hyperlink" Target="http://bit.ly/passgc19" TargetMode="External"/><Relationship Id="rId5" Type="http://schemas.openxmlformats.org/officeDocument/2006/relationships/image" Target="../media/image26.png"/><Relationship Id="rId4" Type="http://schemas.microsoft.com/office/2007/relationships/hdphoto" Target="../media/hdphoto3.wdp"/></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 Id="rId5" Type="http://schemas.openxmlformats.org/officeDocument/2006/relationships/image" Target="../media/image92.svg"/><Relationship Id="rId4" Type="http://schemas.openxmlformats.org/officeDocument/2006/relationships/image" Target="../media/image91.png"/></Relationships>
</file>

<file path=ppt/slides/_rels/slide4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0.xml"/><Relationship Id="rId1" Type="http://schemas.openxmlformats.org/officeDocument/2006/relationships/slideLayout" Target="../slideLayouts/slideLayout18.xml"/><Relationship Id="rId5" Type="http://schemas.openxmlformats.org/officeDocument/2006/relationships/image" Target="../media/image92.svg"/><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2.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5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2.xml"/><Relationship Id="rId1" Type="http://schemas.openxmlformats.org/officeDocument/2006/relationships/slideLayout" Target="../slideLayouts/slideLayout18.xml"/><Relationship Id="rId4" Type="http://schemas.openxmlformats.org/officeDocument/2006/relationships/image" Target="../media/image111.png"/></Relationships>
</file>

<file path=ppt/slides/_rels/slide6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4.xml"/><Relationship Id="rId1" Type="http://schemas.openxmlformats.org/officeDocument/2006/relationships/slideLayout" Target="../slideLayouts/slideLayout18.xml"/><Relationship Id="rId4" Type="http://schemas.openxmlformats.org/officeDocument/2006/relationships/image" Target="../media/image114.png"/></Relationships>
</file>

<file path=ppt/slides/_rels/slide6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5.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18.svg"/><Relationship Id="rId2" Type="http://schemas.openxmlformats.org/officeDocument/2006/relationships/image" Target="../media/image117.png"/><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8.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 Id="rId5" Type="http://schemas.openxmlformats.org/officeDocument/2006/relationships/image" Target="../media/image107.svg"/><Relationship Id="rId4" Type="http://schemas.openxmlformats.org/officeDocument/2006/relationships/image" Target="../media/image106.png"/></Relationships>
</file>

<file path=ppt/slides/_rels/slide8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Summary</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endParaRPr lang="en-US" i="1" dirty="0">
              <a:solidFill>
                <a:schemeClr val="accent1"/>
              </a:solidFill>
            </a:endParaRPr>
          </a:p>
          <a:p>
            <a:r>
              <a:rPr lang="en-US" dirty="0"/>
              <a:t>Azure Data Studio Notebook</a:t>
            </a:r>
            <a:endParaRPr lang="en-US" i="1" dirty="0">
              <a:solidFill>
                <a:schemeClr val="accent1"/>
              </a:solidFill>
            </a:endParaRP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386054563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fleitasarts.com</a:t>
            </a:r>
          </a:p>
          <a:p>
            <a:r>
              <a:rPr lang="en-US" dirty="0"/>
              <a:t>github.com/hfleitas/seattle19</a:t>
            </a:r>
          </a:p>
          <a:p>
            <a:r>
              <a:rPr lang="en-US" dirty="0">
                <a:hlinkClick r:id="rId3"/>
              </a:rPr>
              <a:t>Microsoft Learn</a:t>
            </a:r>
            <a:endParaRPr lang="en-US" dirty="0"/>
          </a:p>
          <a:p>
            <a:r>
              <a:rPr lang="en-US" dirty="0">
                <a:hlinkClick r:id="rId4"/>
              </a:rPr>
              <a:t>Pricing</a:t>
            </a:r>
            <a:endParaRPr lang="en-US" dirty="0"/>
          </a:p>
          <a:p>
            <a:r>
              <a:rPr lang="en-US" dirty="0">
                <a:hlinkClick r:id="rId5"/>
              </a:rPr>
              <a:t>Integrating Bing Maps with GPS</a:t>
            </a:r>
            <a:endParaRPr lang="en-US" dirty="0"/>
          </a:p>
          <a:p>
            <a:r>
              <a:rPr lang="en-US" dirty="0">
                <a:hlinkClick r:id="rId6"/>
              </a:rPr>
              <a:t>Scrolling Screen</a:t>
            </a:r>
            <a:endParaRPr lang="en-US" dirty="0"/>
          </a:p>
          <a:p>
            <a:r>
              <a:rPr lang="en-US" dirty="0">
                <a:hlinkClick r:id="rId7"/>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807" y="-3894"/>
            <a:ext cx="4740231" cy="51435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427863" y="1695120"/>
            <a:ext cx="2627572" cy="1816870"/>
            <a:chOff x="427863" y="1753641"/>
            <a:chExt cx="2627572" cy="1816870"/>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68580" tIns="34290" rIns="68580" bIns="3429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defTabSz="342900">
                <a:lnSpc>
                  <a:spcPct val="90000"/>
                </a:lnSpc>
                <a:tabLst>
                  <a:tab pos="4338530" algn="l"/>
                </a:tabLst>
                <a:defRPr/>
              </a:pPr>
              <a:r>
                <a:rPr lang="en-US" sz="4000" dirty="0">
                  <a:solidFill>
                    <a:srgbClr val="FFFFFF"/>
                  </a:solidFill>
                </a:rPr>
                <a:t>Poll</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61665"/>
            </a:xfrm>
            <a:prstGeom prst="rect">
              <a:avLst/>
            </a:prstGeom>
          </p:spPr>
          <p:txBody>
            <a:bodyPr wrap="square">
              <a:spAutoFit/>
            </a:bodyPr>
            <a:lstStyle/>
            <a:p>
              <a:pPr defTabSz="914378">
                <a:defRPr/>
              </a:pPr>
              <a:r>
                <a:rPr lang="en-US" sz="1200" kern="0" spc="20" dirty="0">
                  <a:solidFill>
                    <a:srgbClr val="FFFFFF"/>
                  </a:solidFill>
                  <a:latin typeface="Segoe UI"/>
                </a:rPr>
                <a:t>Your participation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012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r>
              <a:rPr lang="en-US" sz="1200" kern="0" spc="20"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passgc19</a:t>
            </a:r>
          </a:p>
        </p:txBody>
      </p:sp>
    </p:spTree>
    <p:extLst>
      <p:ext uri="{BB962C8B-B14F-4D97-AF65-F5344CB8AC3E}">
        <p14:creationId xmlns:p14="http://schemas.microsoft.com/office/powerpoint/2010/main" val="332873409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9CECAF43-48C4-0A45-BA1C-1DB2CCE8339E}"/>
              </a:ext>
            </a:extLst>
          </p:cNvPr>
          <p:cNvGrpSpPr/>
          <p:nvPr/>
        </p:nvGrpSpPr>
        <p:grpSpPr>
          <a:xfrm>
            <a:off x="4684877" y="3385803"/>
            <a:ext cx="229600" cy="229600"/>
            <a:chOff x="470537" y="3886355"/>
            <a:chExt cx="229600" cy="229600"/>
          </a:xfrm>
        </p:grpSpPr>
        <p:sp>
          <p:nvSpPr>
            <p:cNvPr id="16" name="Rounded Rectangle 15">
              <a:extLst>
                <a:ext uri="{FF2B5EF4-FFF2-40B4-BE49-F238E27FC236}">
                  <a16:creationId xmlns:a16="http://schemas.microsoft.com/office/drawing/2014/main" id="{15FDFFB0-027F-834B-B054-43BC065364B9}"/>
                </a:ext>
              </a:extLst>
            </p:cNvPr>
            <p:cNvSpPr/>
            <p:nvPr/>
          </p:nvSpPr>
          <p:spPr>
            <a:xfrm>
              <a:off x="470537" y="3886355"/>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383">
              <a:extLst>
                <a:ext uri="{FF2B5EF4-FFF2-40B4-BE49-F238E27FC236}">
                  <a16:creationId xmlns:a16="http://schemas.microsoft.com/office/drawing/2014/main" id="{EBB4F328-8808-8C48-BBF3-5B476AAAB175}"/>
                </a:ext>
              </a:extLst>
            </p:cNvPr>
            <p:cNvSpPr>
              <a:spLocks/>
            </p:cNvSpPr>
            <p:nvPr/>
          </p:nvSpPr>
          <p:spPr bwMode="auto">
            <a:xfrm>
              <a:off x="537770" y="3958471"/>
              <a:ext cx="103392" cy="89503"/>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solidFill>
            <a:ln>
              <a:noFill/>
            </a:ln>
          </p:spPr>
          <p:txBody>
            <a:bodyPr/>
            <a:lstStyle/>
            <a:p>
              <a:endParaRPr lang="en-US" dirty="0"/>
            </a:p>
          </p:txBody>
        </p:sp>
      </p:grpSp>
      <p:sp>
        <p:nvSpPr>
          <p:cNvPr id="19" name="Rounded Rectangle 18">
            <a:extLst>
              <a:ext uri="{FF2B5EF4-FFF2-40B4-BE49-F238E27FC236}">
                <a16:creationId xmlns:a16="http://schemas.microsoft.com/office/drawing/2014/main" id="{246F2AB0-A4A3-5245-84A5-BD6CC0E14FF1}"/>
              </a:ext>
            </a:extLst>
          </p:cNvPr>
          <p:cNvSpPr/>
          <p:nvPr/>
        </p:nvSpPr>
        <p:spPr>
          <a:xfrm>
            <a:off x="4684877" y="3786636"/>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A5568A34-A85F-654A-ACA2-D2DB1176EAFF}"/>
              </a:ext>
            </a:extLst>
          </p:cNvPr>
          <p:cNvGrpSpPr/>
          <p:nvPr/>
        </p:nvGrpSpPr>
        <p:grpSpPr>
          <a:xfrm>
            <a:off x="4745450" y="3858202"/>
            <a:ext cx="116315" cy="86468"/>
            <a:chOff x="797870" y="1445676"/>
            <a:chExt cx="2282964" cy="1697143"/>
          </a:xfrm>
        </p:grpSpPr>
        <p:sp>
          <p:nvSpPr>
            <p:cNvPr id="26" name="Freeform 25">
              <a:extLst>
                <a:ext uri="{FF2B5EF4-FFF2-40B4-BE49-F238E27FC236}">
                  <a16:creationId xmlns:a16="http://schemas.microsoft.com/office/drawing/2014/main" id="{1DB65697-1E7E-5F44-8A7C-F1117D4EFDD0}"/>
                </a:ext>
              </a:extLst>
            </p:cNvPr>
            <p:cNvSpPr/>
            <p:nvPr/>
          </p:nvSpPr>
          <p:spPr>
            <a:xfrm>
              <a:off x="927238" y="1445676"/>
              <a:ext cx="2016618" cy="845721"/>
            </a:xfrm>
            <a:custGeom>
              <a:avLst/>
              <a:gdLst>
                <a:gd name="connsiteX0" fmla="*/ 1007358 w 2016618"/>
                <a:gd name="connsiteY0" fmla="*/ 848572 h 845720"/>
                <a:gd name="connsiteX1" fmla="*/ 2022326 w 2016618"/>
                <a:gd name="connsiteY1" fmla="*/ 32308 h 845720"/>
                <a:gd name="connsiteX2" fmla="*/ 1898665 w 2016618"/>
                <a:gd name="connsiteY2" fmla="*/ 0 h 845720"/>
                <a:gd name="connsiteX3" fmla="*/ 124612 w 2016618"/>
                <a:gd name="connsiteY3" fmla="*/ 0 h 845720"/>
                <a:gd name="connsiteX4" fmla="*/ 0 w 2016618"/>
                <a:gd name="connsiteY4" fmla="*/ 32308 h 845720"/>
                <a:gd name="connsiteX5" fmla="*/ 1007358 w 2016618"/>
                <a:gd name="connsiteY5" fmla="*/ 848572 h 8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618" h="845720">
                  <a:moveTo>
                    <a:pt x="1007358" y="848572"/>
                  </a:moveTo>
                  <a:lnTo>
                    <a:pt x="2022326" y="32308"/>
                  </a:lnTo>
                  <a:cubicBezTo>
                    <a:pt x="1985228" y="12353"/>
                    <a:pt x="1943373" y="0"/>
                    <a:pt x="1898665" y="0"/>
                  </a:cubicBezTo>
                  <a:lnTo>
                    <a:pt x="124612" y="0"/>
                  </a:lnTo>
                  <a:cubicBezTo>
                    <a:pt x="78953" y="0"/>
                    <a:pt x="37098" y="11403"/>
                    <a:pt x="0" y="32308"/>
                  </a:cubicBezTo>
                  <a:lnTo>
                    <a:pt x="1007358" y="848572"/>
                  </a:lnTo>
                  <a:close/>
                </a:path>
              </a:pathLst>
            </a:custGeom>
            <a:solidFill>
              <a:srgbClr val="FFFFFF"/>
            </a:solidFill>
            <a:ln w="9506"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918F708E-7265-054E-926E-CE4F7191C937}"/>
                </a:ext>
              </a:extLst>
            </p:cNvPr>
            <p:cNvSpPr/>
            <p:nvPr/>
          </p:nvSpPr>
          <p:spPr>
            <a:xfrm>
              <a:off x="797870" y="1688939"/>
              <a:ext cx="2282964" cy="1453880"/>
            </a:xfrm>
            <a:custGeom>
              <a:avLst/>
              <a:gdLst>
                <a:gd name="connsiteX0" fmla="*/ 1135775 w 2282964"/>
                <a:gd name="connsiteY0" fmla="*/ 922691 h 1453879"/>
                <a:gd name="connsiteX1" fmla="*/ 0 w 2282964"/>
                <a:gd name="connsiteY1" fmla="*/ 950 h 1453879"/>
                <a:gd name="connsiteX2" fmla="*/ 0 w 2282964"/>
                <a:gd name="connsiteY2" fmla="*/ 10453 h 1453879"/>
                <a:gd name="connsiteX3" fmla="*/ 0 w 2282964"/>
                <a:gd name="connsiteY3" fmla="*/ 1203014 h 1453879"/>
                <a:gd name="connsiteX4" fmla="*/ 254931 w 2282964"/>
                <a:gd name="connsiteY4" fmla="*/ 1457681 h 1453879"/>
                <a:gd name="connsiteX5" fmla="*/ 2028984 w 2282964"/>
                <a:gd name="connsiteY5" fmla="*/ 1457681 h 1453879"/>
                <a:gd name="connsiteX6" fmla="*/ 2283915 w 2282964"/>
                <a:gd name="connsiteY6" fmla="*/ 1203014 h 1453879"/>
                <a:gd name="connsiteX7" fmla="*/ 2283915 w 2282964"/>
                <a:gd name="connsiteY7" fmla="*/ 10453 h 1453879"/>
                <a:gd name="connsiteX8" fmla="*/ 2283915 w 2282964"/>
                <a:gd name="connsiteY8" fmla="*/ 0 h 1453879"/>
                <a:gd name="connsiteX9" fmla="*/ 1135775 w 2282964"/>
                <a:gd name="connsiteY9" fmla="*/ 922691 h 145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2964" h="1453879">
                  <a:moveTo>
                    <a:pt x="1135775" y="922691"/>
                  </a:moveTo>
                  <a:lnTo>
                    <a:pt x="0" y="950"/>
                  </a:lnTo>
                  <a:cubicBezTo>
                    <a:pt x="0" y="3801"/>
                    <a:pt x="0" y="6652"/>
                    <a:pt x="0" y="10453"/>
                  </a:cubicBezTo>
                  <a:lnTo>
                    <a:pt x="0" y="1203014"/>
                  </a:lnTo>
                  <a:cubicBezTo>
                    <a:pt x="0" y="1343651"/>
                    <a:pt x="114148" y="1457681"/>
                    <a:pt x="254931" y="1457681"/>
                  </a:cubicBezTo>
                  <a:lnTo>
                    <a:pt x="2028984" y="1457681"/>
                  </a:lnTo>
                  <a:cubicBezTo>
                    <a:pt x="2169767" y="1457681"/>
                    <a:pt x="2283915" y="1343651"/>
                    <a:pt x="2283915" y="1203014"/>
                  </a:cubicBezTo>
                  <a:lnTo>
                    <a:pt x="2283915" y="10453"/>
                  </a:lnTo>
                  <a:cubicBezTo>
                    <a:pt x="2283915" y="6652"/>
                    <a:pt x="2283915" y="3801"/>
                    <a:pt x="2283915" y="0"/>
                  </a:cubicBezTo>
                  <a:lnTo>
                    <a:pt x="1135775" y="922691"/>
                  </a:lnTo>
                  <a:close/>
                </a:path>
              </a:pathLst>
            </a:custGeom>
            <a:solidFill>
              <a:srgbClr val="FFFFFF"/>
            </a:solidFill>
            <a:ln w="9506" cap="flat">
              <a:noFill/>
              <a:prstDash val="solid"/>
              <a:miter/>
            </a:ln>
          </p:spPr>
          <p:txBody>
            <a:bodyPr rtlCol="0" anchor="ctr"/>
            <a:lstStyle/>
            <a:p>
              <a:endParaRPr lang="en-US" dirty="0"/>
            </a:p>
          </p:txBody>
        </p:sp>
      </p:grpSp>
      <p:sp>
        <p:nvSpPr>
          <p:cNvPr id="38" name="Title 37">
            <a:extLst>
              <a:ext uri="{FF2B5EF4-FFF2-40B4-BE49-F238E27FC236}">
                <a16:creationId xmlns:a16="http://schemas.microsoft.com/office/drawing/2014/main" id="{E7E6B5D7-DBDB-9F46-8E00-B16786079CCD}"/>
              </a:ext>
            </a:extLst>
          </p:cNvPr>
          <p:cNvSpPr>
            <a:spLocks noGrp="1"/>
          </p:cNvSpPr>
          <p:nvPr>
            <p:ph type="title"/>
          </p:nvPr>
        </p:nvSpPr>
        <p:spPr/>
        <p:txBody>
          <a:bodyPr/>
          <a:lstStyle/>
          <a:p>
            <a:r>
              <a:rPr lang="en-US" dirty="0"/>
              <a:t>Hiram Fleitas</a:t>
            </a:r>
          </a:p>
        </p:txBody>
      </p:sp>
      <p:sp>
        <p:nvSpPr>
          <p:cNvPr id="39" name="Text Placeholder 38">
            <a:extLst>
              <a:ext uri="{FF2B5EF4-FFF2-40B4-BE49-F238E27FC236}">
                <a16:creationId xmlns:a16="http://schemas.microsoft.com/office/drawing/2014/main" id="{5A6C08EA-16BD-C64D-AF6B-ADD733BCABC1}"/>
              </a:ext>
            </a:extLst>
          </p:cNvPr>
          <p:cNvSpPr>
            <a:spLocks noGrp="1"/>
          </p:cNvSpPr>
          <p:nvPr>
            <p:ph type="body" sz="quarter" idx="13"/>
          </p:nvPr>
        </p:nvSpPr>
        <p:spPr/>
        <p:txBody>
          <a:bodyPr/>
          <a:lstStyle/>
          <a:p>
            <a:r>
              <a:rPr lang="en-US" dirty="0"/>
              <a:t>@hiramfleitas</a:t>
            </a:r>
          </a:p>
          <a:p>
            <a:r>
              <a:rPr lang="en-US" dirty="0"/>
              <a:t>hiram@fleitasarts.com</a:t>
            </a:r>
          </a:p>
        </p:txBody>
      </p:sp>
    </p:spTree>
    <p:extLst>
      <p:ext uri="{BB962C8B-B14F-4D97-AF65-F5344CB8AC3E}">
        <p14:creationId xmlns:p14="http://schemas.microsoft.com/office/powerpoint/2010/main" val="304172069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30396914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403950" y="2031521"/>
            <a:ext cx="1856835" cy="13586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2200" dirty="0">
                <a:solidFill>
                  <a:schemeClr val="accent2"/>
                </a:solidFill>
                <a:latin typeface="Segoe UI Semibold" panose="020B0702040204020203" pitchFamily="34" charset="0"/>
                <a:cs typeface="Segoe UI Semibold" panose="020B0702040204020203" pitchFamily="34" charset="0"/>
              </a:rPr>
              <a:t>Principal Data Architect, Universal Property</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p>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4842</TotalTime>
  <Words>10772</Words>
  <Application>Microsoft Office PowerPoint</Application>
  <PresentationFormat>On-screen Show (16:9)</PresentationFormat>
  <Paragraphs>1278</Paragraphs>
  <Slides>255</Slides>
  <Notes>220</Notes>
  <HiddenSlides>1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55</vt:i4>
      </vt:variant>
    </vt:vector>
  </HeadingPairs>
  <TitlesOfParts>
    <vt:vector size="271"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Resources</vt:lpstr>
      <vt:lpstr>Resources</vt:lpstr>
      <vt:lpstr>PowerPoint Presentation</vt:lpstr>
      <vt:lpstr>PowerPoint Presentation</vt:lpstr>
      <vt:lpstr>PowerPoint Presentation</vt:lpstr>
      <vt:lpstr>Hiram Fleitas</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Lana Montgomery</dc:creator>
  <cp:lastModifiedBy>Hiram Fleitas</cp:lastModifiedBy>
  <cp:revision>1262</cp:revision>
  <dcterms:created xsi:type="dcterms:W3CDTF">2013-07-12T18:23:55Z</dcterms:created>
  <dcterms:modified xsi:type="dcterms:W3CDTF">2019-10-29T03:32:31Z</dcterms:modified>
  <cp:contentStatus/>
</cp:coreProperties>
</file>